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0"/>
  </p:notesMasterIdLst>
  <p:sldIdLst>
    <p:sldId id="262" r:id="rId3"/>
    <p:sldId id="263" r:id="rId4"/>
    <p:sldId id="264" r:id="rId5"/>
    <p:sldId id="257" r:id="rId6"/>
    <p:sldId id="259" r:id="rId7"/>
    <p:sldId id="260" r:id="rId8"/>
    <p:sldId id="261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74D270-D2D3-4C3E-A3C2-AD373B0076E0}" v="74" dt="2025-04-02T16:45:53.07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80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B3C792-9318-47B4-9110-C93EF930682B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3355AE-1A34-4EAF-A2AC-5E1B5A82E9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2960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92F11-063A-49E7-9A90-9D49D18C5C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802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92F11-063A-49E7-9A90-9D49D18C5C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5298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E55BF9-18AA-CC59-0574-98F465327E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alibri Light Font – Dark Re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202A19-953A-5ACE-EA18-99E04D8FA2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0B40E8-22F9-9CFC-3ADF-F778F562F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DEC690-8844-4D84-877C-E2E8D5581DC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2585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01AC93-540C-D2F4-75F5-18D35F6C9D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29E48B5-38C2-A047-D6B6-3DA735381D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94110A-EA4C-FC47-9D53-CAF50854C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DEC690-8844-4D84-877C-E2E8D5581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4509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283BC90-C8C1-B556-84DB-3B4F6A631BA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0D66F1-FD39-8BBE-FEAB-B6C6A8457B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5ADBC1-0428-87BE-DA96-697784101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DEC690-8844-4D84-877C-E2E8D5581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5469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E1BE2E-24E0-4CDE-9BEA-26BE11B8E1B5}" type="datetime1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2772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815562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6061"/>
            <a:ext cx="12192000" cy="600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9562" y="4946"/>
            <a:ext cx="8706011" cy="477655"/>
          </a:xfrm>
        </p:spPr>
        <p:txBody>
          <a:bodyPr/>
          <a:lstStyle>
            <a:lvl1pPr>
              <a:defRPr sz="373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93800"/>
            <a:ext cx="10972800" cy="4525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E6830A-EB60-40AE-A60C-0A30732DBC2E}" type="datetime1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983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6061"/>
            <a:ext cx="12192000" cy="600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9562" y="4946"/>
            <a:ext cx="8706011" cy="477655"/>
          </a:xfrm>
        </p:spPr>
        <p:txBody>
          <a:bodyPr/>
          <a:lstStyle>
            <a:lvl1pPr>
              <a:defRPr sz="373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93800"/>
            <a:ext cx="10972800" cy="4525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334863-8A03-4221-B3FF-B368DDCD6048}" type="datetime1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9144000" y="584201"/>
            <a:ext cx="2844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>
                <a:solidFill>
                  <a:schemeClr val="bg2"/>
                </a:solidFill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69980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ctr">
              <a:defRPr sz="5333" b="1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2AF464-EDC9-4818-92CF-97BE24BB2A9A}" type="datetime1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2772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7903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688"/>
            <a:ext cx="12192000" cy="601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0" y="69782"/>
            <a:ext cx="8839200" cy="480945"/>
          </a:xfrm>
        </p:spPr>
        <p:txBody>
          <a:bodyPr/>
          <a:lstStyle>
            <a:lvl1pPr>
              <a:defRPr sz="373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F1F03-7C91-4CB8-B2C1-84FFB5E6FCF7}" type="datetime1">
              <a:rPr lang="en-US" smtClean="0"/>
              <a:t>4/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9355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6C2B5-A038-407C-A326-4D1F88E991C1}" type="datetime1">
              <a:rPr lang="en-US" smtClean="0"/>
              <a:t>4/2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8108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01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9407" y="59267"/>
            <a:ext cx="8636000" cy="482600"/>
          </a:xfrm>
        </p:spPr>
        <p:txBody>
          <a:bodyPr/>
          <a:lstStyle>
            <a:lvl1pPr>
              <a:defRPr sz="373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3BE5A5-A15C-4C6A-9352-7D3F9F71DA15}" type="datetime1">
              <a:rPr lang="en-US" smtClean="0"/>
              <a:t>4/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8183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01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0" y="2"/>
            <a:ext cx="8839200" cy="482599"/>
          </a:xfrm>
        </p:spPr>
        <p:txBody>
          <a:bodyPr/>
          <a:lstStyle>
            <a:lvl1pPr>
              <a:defRPr sz="373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6CF61C-AF53-41AE-8183-EBE13DF79FE5}" type="datetime1">
              <a:rPr lang="en-US" smtClean="0"/>
              <a:t>4/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260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0C9AB3-E30C-3BD5-CED6-52EC77FAEF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alibri light Font for Titles – Dark Re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529C7-B17D-1CD4-DBBD-5BB235B0E93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47850"/>
            <a:ext cx="10515600" cy="43513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alibri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AE19E-5C55-0D03-3EF6-8344FEEDD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CDEC690-8844-4D84-877C-E2E8D5581D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6747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DD5CE-762F-4520-8E82-52A2D41B4C3A}" type="datetime1">
              <a:rPr lang="en-US" smtClean="0"/>
              <a:t>4/2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6030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01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85FA6-8E8C-449C-B0C9-AB19D802A367}" type="datetime1">
              <a:rPr lang="en-US" smtClean="0"/>
              <a:t>4/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1913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01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9955C-D923-4BCF-9C69-67FCAF604F2D}" type="datetime1">
              <a:rPr lang="en-US" smtClean="0"/>
              <a:t>4/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6318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01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0" y="2"/>
            <a:ext cx="8839200" cy="482599"/>
          </a:xfrm>
        </p:spPr>
        <p:txBody>
          <a:bodyPr/>
          <a:lstStyle>
            <a:lvl1pPr>
              <a:defRPr sz="373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C7976-77EB-4B39-8E57-DEB7F1B5097C}" type="datetime1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7400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01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31C71-157B-46CF-B481-D206F01B81FA}" type="datetime1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937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E22807-9C02-1EBB-C414-D4C555475F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 dirty="0"/>
              <a:t>Calibri Light Fo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4CFD88-3473-1EF8-DCB9-1A6D93F726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C0FAD0-8412-287B-CE22-CC7566F1D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DEC690-8844-4D84-877C-E2E8D5581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027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8AEE3-7C3E-2D53-D51A-600676B3D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alibri light Font for Titles – Dark R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163652-F1DE-5154-3772-5896097D00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80AAE7-6684-57F2-D514-9BC5C94911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A8B889-E199-6FC7-9DD8-CB5986B0E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9FDCD4-1AEF-C770-AB8C-EF78BE05E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DEC690-8844-4D84-877C-E2E8D5581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190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2C2C05-8361-8FD2-6B95-45F24D1A6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alibri light Font for Titles – Dark Re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D7B6E8-2EF3-A98B-3D21-254438CFA4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9C1E5B-2705-3574-18AD-B206EE408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188D21-EC18-F4A8-4170-957098169B1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D7FBFD3-3238-66F2-2BFE-B5068DEC03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AE940D0-19E6-B82C-33D9-B89722A92F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DEC690-8844-4D84-877C-E2E8D5581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9124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4727EB-DB9D-FA74-8CC7-D58A47FBA0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alibri light Font for Titles – Dark Re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E8159-226A-9995-9888-B411A2C1D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DEC690-8844-4D84-877C-E2E8D5581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630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25407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000C-1ED0-FA46-96CE-2B0D5D443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46AD9-D098-9773-4A85-BB0686F584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437F44-230E-624C-5D67-A7DB0B0072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64B150-1EFF-DC26-97E6-3111CA19A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DEC690-8844-4D84-877C-E2E8D5581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3057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C3835B-211B-9559-B274-92D0643C2D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610CF7C-A132-177B-D86E-23640109E6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E6BC86-F194-C531-3720-F04AA91DDE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E8C602-F333-1966-E0AC-724613CE3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DEC690-8844-4D84-877C-E2E8D5581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143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8B522A2-9475-512E-E758-4886D2FFF6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alibri Light Font for Titles – Dark R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4CC6B3-6CF1-530C-3454-375EFB34FC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125644-1C5B-54B5-8A09-8C8D4C272A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EC690-8844-4D84-877C-E2E8D5581DCC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black and red text&#10;&#10;Description automatically generated">
            <a:extLst>
              <a:ext uri="{FF2B5EF4-FFF2-40B4-BE49-F238E27FC236}">
                <a16:creationId xmlns:a16="http://schemas.microsoft.com/office/drawing/2014/main" id="{EB144970-3579-2FC0-2A99-C6A0FF580A5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86" y="6507446"/>
            <a:ext cx="861798" cy="251651"/>
          </a:xfrm>
          <a:prstGeom prst="rect">
            <a:avLst/>
          </a:prstGeom>
        </p:spPr>
      </p:pic>
      <p:pic>
        <p:nvPicPr>
          <p:cNvPr id="10" name="Picture 9" descr="A black background with red text&#10;&#10;Description automatically generated">
            <a:extLst>
              <a:ext uri="{FF2B5EF4-FFF2-40B4-BE49-F238E27FC236}">
                <a16:creationId xmlns:a16="http://schemas.microsoft.com/office/drawing/2014/main" id="{BB6169BE-DE30-48C8-159F-EDDC7762C8A5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956" y="6508861"/>
            <a:ext cx="1203744" cy="212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558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C0000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72200"/>
            <a:ext cx="12192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0" y="76200"/>
            <a:ext cx="9144000" cy="406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986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540000" y="6323470"/>
            <a:ext cx="132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F267B0-4BB5-46FC-B990-5AB9D96F34D8}" type="datetime1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62400" y="632347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26400" y="6323470"/>
            <a:ext cx="914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2E3489-8E5A-41F3-B374-A500CC48CE42}" type="slidenum">
              <a:rPr lang="en-US" smtClean="0"/>
              <a:t>‹#›</a:t>
            </a:fld>
            <a:endParaRPr 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324403"/>
            <a:ext cx="1524000" cy="4540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800" y="6282557"/>
            <a:ext cx="2133600" cy="521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121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ftr="0" dt="0"/>
  <p:txStyles>
    <p:titleStyle>
      <a:lvl1pPr algn="r" defTabSz="1219170" rtl="0" eaLnBrk="1" latinLnBrk="0" hangingPunct="1">
        <a:spcBef>
          <a:spcPct val="0"/>
        </a:spcBef>
        <a:buNone/>
        <a:defRPr sz="3733" b="1" kern="1200">
          <a:solidFill>
            <a:srgbClr val="C00000"/>
          </a:solidFill>
          <a:latin typeface="+mn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Wingdings" panose="05000000000000000000" pitchFamily="2" charset="2"/>
        <a:buChar char="Ø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2FD1EC-127E-BA9F-BD9D-65594857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oper University Health Ca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4AF554-9D53-F662-90E7-366A55FF1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E3489-8E5A-41F3-B374-A500CC48CE42}" type="slidenum">
              <a:rPr lang="en-US" smtClean="0"/>
              <a:t>1</a:t>
            </a:fld>
            <a:endParaRPr lang="en-US"/>
          </a:p>
        </p:txBody>
      </p:sp>
      <p:pic>
        <p:nvPicPr>
          <p:cNvPr id="5" name="Picture 4" descr="A red and white logo&#10;&#10;Description automatically generated with medium confidence">
            <a:extLst>
              <a:ext uri="{FF2B5EF4-FFF2-40B4-BE49-F238E27FC236}">
                <a16:creationId xmlns:a16="http://schemas.microsoft.com/office/drawing/2014/main" id="{06B87097-A7F3-2932-9A84-FB1F2E280C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257300"/>
            <a:ext cx="4343400" cy="43434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CE941E7-C7D9-0FAF-61D7-E87EBD60C339}"/>
              </a:ext>
            </a:extLst>
          </p:cNvPr>
          <p:cNvSpPr txBox="1"/>
          <p:nvPr/>
        </p:nvSpPr>
        <p:spPr>
          <a:xfrm>
            <a:off x="5228706" y="1778924"/>
            <a:ext cx="6533804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C00000"/>
                </a:solidFill>
              </a:rPr>
              <a:t>Mission</a:t>
            </a:r>
          </a:p>
          <a:p>
            <a:pPr algn="ctr"/>
            <a:r>
              <a:rPr lang="en-US" sz="2800"/>
              <a:t>To Serve, To Heal, To Educate</a:t>
            </a:r>
          </a:p>
          <a:p>
            <a:pPr algn="ctr"/>
            <a:endParaRPr lang="en-US" sz="2800"/>
          </a:p>
          <a:p>
            <a:pPr algn="ctr"/>
            <a:r>
              <a:rPr lang="en-US" sz="2800" b="1">
                <a:solidFill>
                  <a:srgbClr val="C00000"/>
                </a:solidFill>
              </a:rPr>
              <a:t>Vision</a:t>
            </a:r>
          </a:p>
          <a:p>
            <a:pPr algn="ctr"/>
            <a:r>
              <a:rPr lang="en-US" sz="2800"/>
              <a:t>We will be the best place to be a patient, the best place to work, and the best place to learn and practice medicine.</a:t>
            </a:r>
          </a:p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392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-26533"/>
            <a:ext cx="10293927" cy="823169"/>
          </a:xfrm>
        </p:spPr>
        <p:txBody>
          <a:bodyPr>
            <a:no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+mn-lt"/>
                <a:cs typeface="Calibri" panose="020F0502020204030204" pitchFamily="34" charset="0"/>
              </a:rPr>
              <a:t>Cooper University Health Car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idx="4294967295"/>
          </p:nvPr>
        </p:nvSpPr>
        <p:spPr>
          <a:xfrm>
            <a:off x="810737" y="1208550"/>
            <a:ext cx="6096000" cy="4472420"/>
          </a:xfrm>
          <a:noFill/>
        </p:spPr>
        <p:txBody>
          <a:bodyPr>
            <a:noAutofit/>
          </a:bodyPr>
          <a:lstStyle/>
          <a:p>
            <a:pPr>
              <a:defRPr/>
            </a:pPr>
            <a:r>
              <a:rPr lang="en-US" sz="2667" dirty="0"/>
              <a:t>Camden Main Campus</a:t>
            </a:r>
          </a:p>
          <a:p>
            <a:pPr lvl="1">
              <a:defRPr/>
            </a:pPr>
            <a:r>
              <a:rPr lang="en-US" sz="2267" dirty="0"/>
              <a:t>663-bed academic tertiary care hospital</a:t>
            </a:r>
          </a:p>
          <a:p>
            <a:pPr lvl="1">
              <a:defRPr/>
            </a:pPr>
            <a:r>
              <a:rPr lang="en-US" sz="2267" dirty="0"/>
              <a:t>Only Level I Trauma Center in South Jersey </a:t>
            </a:r>
          </a:p>
          <a:p>
            <a:pPr lvl="1">
              <a:defRPr/>
            </a:pPr>
            <a:r>
              <a:rPr lang="en-US" sz="2267" dirty="0"/>
              <a:t>Cooper Medical School of Rowan University</a:t>
            </a:r>
          </a:p>
          <a:p>
            <a:pPr lvl="1">
              <a:defRPr/>
            </a:pPr>
            <a:r>
              <a:rPr lang="en-US" sz="2267" dirty="0"/>
              <a:t>MD Anderson Cancer Center at Cooper</a:t>
            </a:r>
          </a:p>
          <a:p>
            <a:pPr lvl="1">
              <a:defRPr/>
            </a:pPr>
            <a:r>
              <a:rPr lang="en-US" sz="2267" dirty="0"/>
              <a:t>Children’s Regional Hospital</a:t>
            </a:r>
            <a:br>
              <a:rPr lang="en-US" sz="2267" dirty="0"/>
            </a:br>
            <a:endParaRPr lang="en-US" sz="2267" dirty="0"/>
          </a:p>
          <a:p>
            <a:pPr marL="380990" indent="-380990">
              <a:defRPr/>
            </a:pPr>
            <a:r>
              <a:rPr lang="en-US" sz="2667" dirty="0"/>
              <a:t>Cape Main Campus</a:t>
            </a:r>
          </a:p>
          <a:p>
            <a:pPr marL="838190" lvl="1" indent="-380990">
              <a:defRPr/>
            </a:pPr>
            <a:r>
              <a:rPr lang="en-US" sz="2267" dirty="0"/>
              <a:t>242-bed Cooper University Hospital Cape Regional</a:t>
            </a:r>
          </a:p>
          <a:p>
            <a:pPr marL="838190" lvl="1" indent="-380990">
              <a:defRPr/>
            </a:pPr>
            <a:r>
              <a:rPr lang="en-US" sz="2267" dirty="0"/>
              <a:t>Claire C. Brodesser Surgery Center</a:t>
            </a:r>
          </a:p>
          <a:p>
            <a:pPr marL="838190" lvl="1" indent="-380990">
              <a:defRPr/>
            </a:pPr>
            <a:r>
              <a:rPr lang="en-US" sz="2267" dirty="0"/>
              <a:t>Cancer Center</a:t>
            </a:r>
          </a:p>
          <a:p>
            <a:pPr marL="457200" lvl="1" indent="0">
              <a:buNone/>
              <a:defRPr/>
            </a:pPr>
            <a:endParaRPr lang="en-US" sz="2267" dirty="0"/>
          </a:p>
        </p:txBody>
      </p:sp>
      <p:pic>
        <p:nvPicPr>
          <p:cNvPr id="5" name="Picture 4" descr="A red sign with yellow text&#10;&#10;AI-generated content may be incorrect.">
            <a:extLst>
              <a:ext uri="{FF2B5EF4-FFF2-40B4-BE49-F238E27FC236}">
                <a16:creationId xmlns:a16="http://schemas.microsoft.com/office/drawing/2014/main" id="{10A87F45-D248-B918-AAE2-A904DFEA69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264" y="2494"/>
            <a:ext cx="3858736" cy="688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516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FD0704A-5B39-C403-8B62-191A9A00F0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103" y="738187"/>
            <a:ext cx="4086075" cy="21092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217E28-C222-BB5A-B823-FE683D8F87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6178" y="738187"/>
            <a:ext cx="4733925" cy="53816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088D7B1-0DA1-90BA-0FC8-6A15A145AE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73891" y="1366686"/>
            <a:ext cx="2597570" cy="412462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F37BACE-B855-4E43-4384-BBFAFF9A42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890" y="2925628"/>
            <a:ext cx="3238500" cy="340995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6756C85-098A-ADC1-D928-D92149851B20}"/>
              </a:ext>
            </a:extLst>
          </p:cNvPr>
          <p:cNvSpPr txBox="1"/>
          <p:nvPr/>
        </p:nvSpPr>
        <p:spPr>
          <a:xfrm>
            <a:off x="230103" y="136735"/>
            <a:ext cx="56028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C00000"/>
                </a:solidFill>
              </a:rPr>
              <a:t>Cooper @ Camden Fast Facts 2024</a:t>
            </a:r>
          </a:p>
        </p:txBody>
      </p:sp>
    </p:spTree>
    <p:extLst>
      <p:ext uri="{BB962C8B-B14F-4D97-AF65-F5344CB8AC3E}">
        <p14:creationId xmlns:p14="http://schemas.microsoft.com/office/powerpoint/2010/main" val="177766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1ADD137-A533-8507-8B86-02487CFC10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8413" y="325354"/>
            <a:ext cx="4695825" cy="28765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6E68DB4-7647-4155-A812-98928C38F5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8190" y="1346542"/>
            <a:ext cx="2874745" cy="371072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D924B9-181B-44A3-6ACD-57AADDA705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5583" y="3201904"/>
            <a:ext cx="4021483" cy="329244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8A58BC-A89A-F8D0-2502-570AFFA6D0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642" y="2019003"/>
            <a:ext cx="3050647" cy="376307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57861F3-A301-A294-EF28-F25990184E5D}"/>
              </a:ext>
            </a:extLst>
          </p:cNvPr>
          <p:cNvSpPr txBox="1"/>
          <p:nvPr/>
        </p:nvSpPr>
        <p:spPr>
          <a:xfrm>
            <a:off x="365760" y="450281"/>
            <a:ext cx="341982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C00000"/>
                </a:solidFill>
              </a:rPr>
              <a:t>Cooper @ Cape Fast Facts 2024</a:t>
            </a:r>
          </a:p>
        </p:txBody>
      </p:sp>
    </p:spTree>
    <p:extLst>
      <p:ext uri="{BB962C8B-B14F-4D97-AF65-F5344CB8AC3E}">
        <p14:creationId xmlns:p14="http://schemas.microsoft.com/office/powerpoint/2010/main" val="3602894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7980218" y="0"/>
            <a:ext cx="4211782" cy="482600"/>
          </a:xfrm>
          <a:solidFill>
            <a:schemeClr val="accent1">
              <a:lumMod val="40000"/>
              <a:lumOff val="60000"/>
              <a:alpha val="5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>
            <a:normAutofit fontScale="90000"/>
          </a:bodyPr>
          <a:lstStyle/>
          <a:p>
            <a:pPr algn="r"/>
            <a:r>
              <a:rPr lang="en-US" b="1" dirty="0">
                <a:solidFill>
                  <a:schemeClr val="bg1"/>
                </a:solidFill>
              </a:rPr>
              <a:t>Institutes &amp; Centers</a:t>
            </a:r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10972800" y="6035676"/>
            <a:ext cx="609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Univers" pitchFamily="34" charset="0"/>
                <a:ea typeface="+mn-ea"/>
                <a:cs typeface="Trebuchet M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6" name="Rectangle 48"/>
          <p:cNvSpPr>
            <a:spLocks noChangeArrowheads="1"/>
          </p:cNvSpPr>
          <p:nvPr/>
        </p:nvSpPr>
        <p:spPr bwMode="auto">
          <a:xfrm>
            <a:off x="0" y="1427204"/>
            <a:ext cx="4239490" cy="3308598"/>
          </a:xfrm>
          <a:prstGeom prst="rect">
            <a:avLst/>
          </a:prstGeom>
          <a:solidFill>
            <a:schemeClr val="bg1">
              <a:alpha val="52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numCol="2">
            <a:spAutoFit/>
          </a:bodyPr>
          <a:lstStyle/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Neurologic Institute</a:t>
            </a:r>
          </a:p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one and Joint Institute</a:t>
            </a:r>
          </a:p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D Anderson Cancer Center at Cooper</a:t>
            </a:r>
          </a:p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Heart Institute/ Cardiac Partners</a:t>
            </a:r>
          </a:p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urgical Services Institute</a:t>
            </a:r>
          </a:p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dult Health Institute</a:t>
            </a:r>
          </a:p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Women’s and Children’s Institute</a:t>
            </a:r>
          </a:p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Urban Health Institu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FDFB61-63D4-4B5D-A31A-B0972CE7B509}"/>
              </a:ext>
            </a:extLst>
          </p:cNvPr>
          <p:cNvSpPr txBox="1"/>
          <p:nvPr/>
        </p:nvSpPr>
        <p:spPr>
          <a:xfrm>
            <a:off x="0" y="4719495"/>
            <a:ext cx="5209309" cy="2195473"/>
          </a:xfrm>
          <a:prstGeom prst="rect">
            <a:avLst/>
          </a:prstGeom>
          <a:solidFill>
            <a:schemeClr val="bg1">
              <a:alpha val="64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enter for Hospital Medicine</a:t>
            </a:r>
          </a:p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enter for Critical Care Services</a:t>
            </a:r>
          </a:p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enter for Urgent and Emergent Services</a:t>
            </a:r>
          </a:p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enter for Trauma Services</a:t>
            </a:r>
          </a:p>
          <a:p>
            <a:pPr marL="611745" marR="0" lvl="2" indent="0" algn="l" defTabSz="1218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prstClr val="black"/>
              </a:buClr>
              <a:buSzPct val="125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enter for Population Health</a:t>
            </a:r>
          </a:p>
        </p:txBody>
      </p:sp>
    </p:spTree>
    <p:extLst>
      <p:ext uri="{BB962C8B-B14F-4D97-AF65-F5344CB8AC3E}">
        <p14:creationId xmlns:p14="http://schemas.microsoft.com/office/powerpoint/2010/main" val="3661631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556000" y="58738"/>
            <a:ext cx="8636000" cy="482600"/>
          </a:xfrm>
        </p:spPr>
        <p:txBody>
          <a:bodyPr>
            <a:normAutofit fontScale="90000"/>
          </a:bodyPr>
          <a:lstStyle/>
          <a:p>
            <a:pPr algn="r"/>
            <a:r>
              <a:rPr lang="en-US" b="1">
                <a:latin typeface="+mn-lt"/>
              </a:rPr>
              <a:t>MD Anderson Cancer Center at Cooper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4294967295"/>
          </p:nvPr>
        </p:nvSpPr>
        <p:spPr>
          <a:xfrm>
            <a:off x="0" y="4821383"/>
            <a:ext cx="12192000" cy="2036616"/>
          </a:xfrm>
          <a:solidFill>
            <a:srgbClr val="C00000">
              <a:alpha val="62000"/>
            </a:srgbClr>
          </a:solidFill>
        </p:spPr>
        <p:txBody>
          <a:bodyPr>
            <a:noAutofit/>
          </a:bodyPr>
          <a:lstStyle/>
          <a:p>
            <a:pPr lvl="0"/>
            <a:r>
              <a:rPr lang="en-US" dirty="0">
                <a:solidFill>
                  <a:schemeClr val="bg1"/>
                </a:solidFill>
              </a:rPr>
              <a:t>South Jersey’s leading cancer program – locations across the region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A team approach to cancer care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Advanced diagnostic and treatment technologies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Cancer clinical trials and supportive care services</a:t>
            </a:r>
          </a:p>
        </p:txBody>
      </p:sp>
    </p:spTree>
    <p:extLst>
      <p:ext uri="{BB962C8B-B14F-4D97-AF65-F5344CB8AC3E}">
        <p14:creationId xmlns:p14="http://schemas.microsoft.com/office/powerpoint/2010/main" val="3279225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t="-4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277600" y="6323013"/>
            <a:ext cx="914400" cy="365125"/>
          </a:xfrm>
        </p:spPr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204A29-7480-48B7-B217-6F3E1AEA88E2}" type="slidenum"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4294967295"/>
          </p:nvPr>
        </p:nvSpPr>
        <p:spPr>
          <a:xfrm>
            <a:off x="0" y="4457700"/>
            <a:ext cx="8343900" cy="2400299"/>
          </a:xfrm>
          <a:solidFill>
            <a:schemeClr val="tx1">
              <a:lumMod val="50000"/>
              <a:lumOff val="50000"/>
              <a:alpha val="58000"/>
            </a:schemeClr>
          </a:solidFill>
        </p:spPr>
        <p:txBody>
          <a:bodyPr>
            <a:normAutofit/>
          </a:bodyPr>
          <a:lstStyle/>
          <a:p>
            <a:pPr lvl="1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bg1"/>
              </a:solidFill>
            </a:endParaRPr>
          </a:p>
          <a:p>
            <a:r>
              <a:rPr lang="en-US" sz="4400" dirty="0">
                <a:solidFill>
                  <a:schemeClr val="bg1"/>
                </a:solidFill>
              </a:rPr>
              <a:t>Opened 2012</a:t>
            </a:r>
          </a:p>
          <a:p>
            <a:r>
              <a:rPr lang="en-US" sz="4400" dirty="0">
                <a:solidFill>
                  <a:schemeClr val="bg1"/>
                </a:solidFill>
              </a:rPr>
              <a:t>First class graduated in May 2016</a:t>
            </a:r>
          </a:p>
          <a:p>
            <a:r>
              <a:rPr lang="en-US" sz="4400" dirty="0">
                <a:solidFill>
                  <a:schemeClr val="bg1"/>
                </a:solidFill>
              </a:rPr>
              <a:t>Faculty Cooper Physicians</a:t>
            </a:r>
          </a:p>
        </p:txBody>
      </p:sp>
    </p:spTree>
    <p:extLst>
      <p:ext uri="{BB962C8B-B14F-4D97-AF65-F5344CB8AC3E}">
        <p14:creationId xmlns:p14="http://schemas.microsoft.com/office/powerpoint/2010/main" val="4218146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3-23-18. Standard Two-Logo Template TMP">
  <a:themeElements>
    <a:clrScheme name="Cooper Theme Colors">
      <a:dk1>
        <a:sysClr val="windowText" lastClr="000000"/>
      </a:dk1>
      <a:lt1>
        <a:sysClr val="window" lastClr="FFFFFF"/>
      </a:lt1>
      <a:dk2>
        <a:srgbClr val="C00000"/>
      </a:dk2>
      <a:lt2>
        <a:srgbClr val="7F7F7F"/>
      </a:lt2>
      <a:accent1>
        <a:srgbClr val="D8D8D8"/>
      </a:accent1>
      <a:accent2>
        <a:srgbClr val="FF0000"/>
      </a:accent2>
      <a:accent3>
        <a:srgbClr val="00B050"/>
      </a:accent3>
      <a:accent4>
        <a:srgbClr val="FFFF00"/>
      </a:accent4>
      <a:accent5>
        <a:srgbClr val="00B0F0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ck 12-15-2020 30k" id="{DBBA6718-28D6-4026-9576-9A20A00CBEC3}" vid="{A6434E1C-1348-4704-8B53-A5E43E402F8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0</TotalTime>
  <Words>211</Words>
  <Application>Microsoft Office PowerPoint</Application>
  <PresentationFormat>Widescreen</PresentationFormat>
  <Paragraphs>46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ptos</vt:lpstr>
      <vt:lpstr>Arial</vt:lpstr>
      <vt:lpstr>Calibri</vt:lpstr>
      <vt:lpstr>Calibri Light</vt:lpstr>
      <vt:lpstr>Courier New</vt:lpstr>
      <vt:lpstr>Wingdings</vt:lpstr>
      <vt:lpstr>Office Theme</vt:lpstr>
      <vt:lpstr>03-23-18. Standard Two-Logo Template TMP</vt:lpstr>
      <vt:lpstr>think-cell Slide</vt:lpstr>
      <vt:lpstr>Cooper University Health Care</vt:lpstr>
      <vt:lpstr>Cooper University Health Care</vt:lpstr>
      <vt:lpstr>PowerPoint Presentation</vt:lpstr>
      <vt:lpstr>PowerPoint Presentation</vt:lpstr>
      <vt:lpstr>Institutes &amp; Centers</vt:lpstr>
      <vt:lpstr>MD Anderson Cancer Center at Cooper</vt:lpstr>
      <vt:lpstr>PowerPoint Presentation</vt:lpstr>
    </vt:vector>
  </TitlesOfParts>
  <Company>Cooper University Health Ca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ubino, Thomas</dc:creator>
  <cp:lastModifiedBy>Rubino, Thomas</cp:lastModifiedBy>
  <cp:revision>4</cp:revision>
  <dcterms:created xsi:type="dcterms:W3CDTF">2023-10-20T20:46:28Z</dcterms:created>
  <dcterms:modified xsi:type="dcterms:W3CDTF">2025-04-02T16:50:03Z</dcterms:modified>
</cp:coreProperties>
</file>